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  <p15:guide id="8" pos="65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  <p:guide pos="658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239B6863-4048-4362-8543-44513B934873}"/>
    <pc:docChg chg="modSld">
      <pc:chgData name="Weigel Stefan (PAR-EPS)" userId="fd3b2067-2981-4ad8-bf3a-d2e1004e4fa8" providerId="ADAL" clId="{239B6863-4048-4362-8543-44513B934873}" dt="2024-04-26T06:32:54.504" v="19" actId="692"/>
      <pc:docMkLst>
        <pc:docMk/>
      </pc:docMkLst>
      <pc:sldChg chg="modSp mod">
        <pc:chgData name="Weigel Stefan (PAR-EPS)" userId="fd3b2067-2981-4ad8-bf3a-d2e1004e4fa8" providerId="ADAL" clId="{239B6863-4048-4362-8543-44513B934873}" dt="2024-04-26T06:32:54.504" v="19" actId="692"/>
        <pc:sldMkLst>
          <pc:docMk/>
          <pc:sldMk cId="2844382326" sldId="415"/>
        </pc:sldMkLst>
        <pc:spChg chg="mod">
          <ac:chgData name="Weigel Stefan (PAR-EPS)" userId="fd3b2067-2981-4ad8-bf3a-d2e1004e4fa8" providerId="ADAL" clId="{239B6863-4048-4362-8543-44513B934873}" dt="2024-04-26T06:24:04.970" v="11" actId="1038"/>
          <ac:spMkLst>
            <pc:docMk/>
            <pc:sldMk cId="2844382326" sldId="415"/>
            <ac:spMk id="7" creationId="{997E4419-A7A8-4264-97B0-3A44B665821E}"/>
          </ac:spMkLst>
        </pc:spChg>
        <pc:graphicFrameChg chg="mod">
          <ac:chgData name="Weigel Stefan (PAR-EPS)" userId="fd3b2067-2981-4ad8-bf3a-d2e1004e4fa8" providerId="ADAL" clId="{239B6863-4048-4362-8543-44513B934873}" dt="2024-04-26T06:32:54.504" v="19" actId="692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Weigel Stefan (PAR-EPS)" userId="fd3b2067-2981-4ad8-bf3a-d2e1004e4fa8" providerId="ADAL" clId="{4269C634-0811-44AE-8B11-1DCC3B43148A}"/>
    <pc:docChg chg="modSld">
      <pc:chgData name="Weigel Stefan (PAR-EPS)" userId="fd3b2067-2981-4ad8-bf3a-d2e1004e4fa8" providerId="ADAL" clId="{4269C634-0811-44AE-8B11-1DCC3B43148A}" dt="2024-02-02T10:55:21.097" v="14" actId="27918"/>
      <pc:docMkLst>
        <pc:docMk/>
      </pc:docMkLst>
      <pc:sldChg chg="modSp mod">
        <pc:chgData name="Weigel Stefan (PAR-EPS)" userId="fd3b2067-2981-4ad8-bf3a-d2e1004e4fa8" providerId="ADAL" clId="{4269C634-0811-44AE-8B11-1DCC3B43148A}" dt="2024-02-02T10:55:21.097" v="14" actId="27918"/>
        <pc:sldMkLst>
          <pc:docMk/>
          <pc:sldMk cId="2844382326" sldId="415"/>
        </pc:sldMkLst>
        <pc:spChg chg="mod">
          <ac:chgData name="Weigel Stefan (PAR-EPS)" userId="fd3b2067-2981-4ad8-bf3a-d2e1004e4fa8" providerId="ADAL" clId="{4269C634-0811-44AE-8B11-1DCC3B43148A}" dt="2024-02-02T10:50:28.837" v="11" actId="790"/>
          <ac:spMkLst>
            <pc:docMk/>
            <pc:sldMk cId="2844382326" sldId="415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0D603E06-4C27-472E-B54D-CF6F5E9026AE}"/>
    <pc:docChg chg="modSld">
      <pc:chgData name="Meyer Raphael (PAR-ES)" userId="79615dfe-ed48-4e74-a40f-4f7b034c1c27" providerId="ADAL" clId="{0D603E06-4C27-472E-B54D-CF6F5E9026AE}" dt="2023-02-24T13:52:04.870" v="3" actId="27918"/>
      <pc:docMkLst>
        <pc:docMk/>
      </pc:docMkLst>
      <pc:sldChg chg="mod">
        <pc:chgData name="Meyer Raphael (PAR-ES)" userId="79615dfe-ed48-4e74-a40f-4f7b034c1c27" providerId="ADAL" clId="{0D603E06-4C27-472E-B54D-CF6F5E9026AE}" dt="2023-02-24T13:52:04.870" v="3" actId="27918"/>
        <pc:sldMkLst>
          <pc:docMk/>
          <pc:sldMk cId="2844382326" sldId="415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3743B4CE-912B-4A4E-9E50-FA54E3942D56}"/>
    <pc:docChg chg="modSld">
      <pc:chgData name="Weigel Stefan (PAR-EPS)" userId="fd3b2067-2981-4ad8-bf3a-d2e1004e4fa8" providerId="ADAL" clId="{3743B4CE-912B-4A4E-9E50-FA54E3942D56}" dt="2025-02-24T10:52:48.611" v="2" actId="27918"/>
      <pc:docMkLst>
        <pc:docMk/>
      </pc:docMkLst>
      <pc:sldChg chg="mod">
        <pc:chgData name="Weigel Stefan (PAR-EPS)" userId="fd3b2067-2981-4ad8-bf3a-d2e1004e4fa8" providerId="ADAL" clId="{3743B4CE-912B-4A4E-9E50-FA54E3942D56}" dt="2025-02-24T10:52:48.611" v="2" actId="27918"/>
        <pc:sldMkLst>
          <pc:docMk/>
          <pc:sldMk cId="2844382326" sldId="415"/>
        </pc:sldMkLst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D150C17-30C0-4630-B813-78D84552C8D0}"/>
    <pc:docChg chg="delSld">
      <pc:chgData name="Meyer Raphael (PAR-ES)" userId="79615dfe-ed48-4e74-a40f-4f7b034c1c27" providerId="ADAL" clId="{FD150C17-30C0-4630-B813-78D84552C8D0}" dt="2022-03-09T15:49:40.336" v="1" actId="47"/>
      <pc:docMkLst>
        <pc:docMk/>
      </pc:docMkLst>
      <pc:sldChg chg="del">
        <pc:chgData name="Meyer Raphael (PAR-ES)" userId="79615dfe-ed48-4e74-a40f-4f7b034c1c27" providerId="ADAL" clId="{FD150C17-30C0-4630-B813-78D84552C8D0}" dt="2022-03-09T15:49:37.888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FD150C17-30C0-4630-B813-78D84552C8D0}" dt="2022-03-09T15:49:40.336" v="1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FD150C17-30C0-4630-B813-78D84552C8D0}" dt="2022-03-09T15:49:40.336" v="1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A Travelcards (network season tickets)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275B-41A0-9650-8EC7C0D3A1C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5277399999999995</c:v>
                </c:pt>
                <c:pt idx="1">
                  <c:v>0.46013499999999996</c:v>
                </c:pt>
                <c:pt idx="2">
                  <c:v>0.47218299999999996</c:v>
                </c:pt>
                <c:pt idx="3">
                  <c:v>0.48016999999999999</c:v>
                </c:pt>
                <c:pt idx="4">
                  <c:v>0.490205</c:v>
                </c:pt>
                <c:pt idx="5">
                  <c:v>0.49952999999999997</c:v>
                </c:pt>
                <c:pt idx="6">
                  <c:v>0.43870999999999999</c:v>
                </c:pt>
                <c:pt idx="7">
                  <c:v>0.40637099999999998</c:v>
                </c:pt>
                <c:pt idx="8">
                  <c:v>0.43076799999999998</c:v>
                </c:pt>
                <c:pt idx="9">
                  <c:v>0.44716599999999995</c:v>
                </c:pt>
                <c:pt idx="10">
                  <c:v>0.42486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f Fare Travelcard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275B-41A0-9650-8EC7C0D3A1C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43696</c:v>
                </c:pt>
                <c:pt idx="1">
                  <c:v>2.3324039999999999</c:v>
                </c:pt>
                <c:pt idx="2">
                  <c:v>2.3949219999999998</c:v>
                </c:pt>
                <c:pt idx="3">
                  <c:v>2.5310319999999997</c:v>
                </c:pt>
                <c:pt idx="4">
                  <c:v>2.597655</c:v>
                </c:pt>
                <c:pt idx="5">
                  <c:v>2.7219449999999998</c:v>
                </c:pt>
                <c:pt idx="6">
                  <c:v>2.720812</c:v>
                </c:pt>
                <c:pt idx="7">
                  <c:v>2.828964</c:v>
                </c:pt>
                <c:pt idx="8">
                  <c:v>2.9686149999999998</c:v>
                </c:pt>
                <c:pt idx="9">
                  <c:v>3.1466789999999998</c:v>
                </c:pt>
                <c:pt idx="10">
                  <c:v>3.338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0191333659580588"/>
          <c:y val="0.82866513602222158"/>
          <c:w val="0.44749277872779103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8977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37273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llions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of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travelcards</a:t>
          </a:r>
          <a:endParaRPr lang="de-CH" sz="1100" dirty="0">
            <a:solidFill>
              <a:schemeClr val="tx2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235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r customer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97377957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ational Direct Service GA Travelcards and Half Fare Travelcards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3383" y="5574713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44382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BE101DB9-5B8F-4270-B356-5CBF76799D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2f5c8543-cf23-4718-a3b8-32b0a91d511a"/>
    <ds:schemaRef ds:uri="96e82a89-ba48-4728-b345-cf206dbec8f1"/>
    <ds:schemaRef ds:uri="http://schemas.microsoft.com/office/2006/metadata/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egular custom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ular customer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